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ppt/embeddings/oleObject1.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
  </p:notesMasterIdLst>
  <p:sldIdLst>
    <p:sldId id="2147469694" r:id="rId2"/>
    <p:sldId id="2147469695"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60853" autoAdjust="0"/>
  </p:normalViewPr>
  <p:slideViewPr>
    <p:cSldViewPr snapToGrid="0">
      <p:cViewPr varScale="1">
        <p:scale>
          <a:sx n="44" d="100"/>
          <a:sy n="44" d="100"/>
        </p:scale>
        <p:origin x="101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95FE63-F9AC-4454-A874-1F0437F76F74}" type="datetimeFigureOut">
              <a:rPr lang="en-IN" smtClean="0"/>
              <a:t>18-Jan-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6DA68E-1B5C-4982-90B2-7A72CA5A038F}" type="slidenum">
              <a:rPr lang="en-IN" smtClean="0"/>
              <a:t>‹#›</a:t>
            </a:fld>
            <a:endParaRPr lang="en-IN"/>
          </a:p>
        </p:txBody>
      </p:sp>
    </p:spTree>
    <p:extLst>
      <p:ext uri="{BB962C8B-B14F-4D97-AF65-F5344CB8AC3E}">
        <p14:creationId xmlns:p14="http://schemas.microsoft.com/office/powerpoint/2010/main" val="2841231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600" b="0" i="0" dirty="0">
                <a:solidFill>
                  <a:srgbClr val="414165"/>
                </a:solidFill>
                <a:effectLst/>
                <a:latin typeface="montserrat" panose="00000500000000000000" pitchFamily="2" charset="0"/>
              </a:rPr>
              <a:t>By capturing a large number of new customers, you can expand your business faster because you will have more new customers to spread your business name to. One of the most effective ways to capture new customers is to create a website. A website</a:t>
            </a:r>
            <a:br>
              <a:rPr lang="en-US" sz="1600" b="0" i="0" dirty="0">
                <a:solidFill>
                  <a:srgbClr val="414165"/>
                </a:solidFill>
                <a:effectLst/>
                <a:latin typeface="montserrat" panose="00000500000000000000" pitchFamily="2" charset="0"/>
              </a:rPr>
            </a:br>
            <a:r>
              <a:rPr lang="en-US" sz="1600" b="0" i="0" dirty="0">
                <a:solidFill>
                  <a:srgbClr val="414165"/>
                </a:solidFill>
                <a:effectLst/>
                <a:latin typeface="montserrat" panose="00000500000000000000" pitchFamily="2" charset="0"/>
              </a:rPr>
              <a:t> is a great way to showcase the services that your business offers and to create the image of a professional business. If you are planning to expand</a:t>
            </a:r>
          </a:p>
          <a:p>
            <a:pPr marL="0" marR="0">
              <a:spcBef>
                <a:spcPts val="0"/>
              </a:spcBef>
              <a:spcAft>
                <a:spcPts val="0"/>
              </a:spcAft>
            </a:pPr>
            <a:r>
              <a:rPr lang="en-US" sz="1600" b="0" i="0" dirty="0">
                <a:solidFill>
                  <a:srgbClr val="414165"/>
                </a:solidFill>
                <a:effectLst/>
                <a:latin typeface="montserrat" panose="00000500000000000000" pitchFamily="2" charset="0"/>
              </a:rPr>
              <a:t> abroad, you should also create a localized version of the website to have a better impact on the local customers.</a:t>
            </a:r>
            <a:endParaRPr lang="en-US" sz="11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FB8EF-5710-4875-ABD4-A12AF78EA3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0775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fontAlgn="base"/>
            <a:r>
              <a:rPr lang="en-US" sz="1600" b="0" i="0" dirty="0">
                <a:solidFill>
                  <a:srgbClr val="414165"/>
                </a:solidFill>
                <a:effectLst/>
                <a:latin typeface="montserrat" panose="00000500000000000000" pitchFamily="2" charset="0"/>
              </a:rPr>
              <a:t>But before doing that It is important for you to understand how business expansion strategies can change and develop along with your own company’s goals, objectives, and circumstances. </a:t>
            </a:r>
          </a:p>
          <a:p>
            <a:pPr algn="just" fontAlgn="base"/>
            <a:r>
              <a:rPr lang="en-US" sz="1600" b="0" i="0" dirty="0">
                <a:solidFill>
                  <a:srgbClr val="414165"/>
                </a:solidFill>
                <a:effectLst/>
                <a:latin typeface="montserrat" panose="00000500000000000000" pitchFamily="2" charset="0"/>
              </a:rPr>
              <a:t>These strategies can also vary depending on the type</a:t>
            </a:r>
            <a:br>
              <a:rPr lang="en-US" sz="1600" b="0" i="0" dirty="0">
                <a:solidFill>
                  <a:srgbClr val="414165"/>
                </a:solidFill>
                <a:effectLst/>
                <a:latin typeface="montserrat" panose="00000500000000000000" pitchFamily="2" charset="0"/>
              </a:rPr>
            </a:br>
            <a:r>
              <a:rPr lang="en-US" sz="1600" b="0" i="0" dirty="0">
                <a:solidFill>
                  <a:srgbClr val="414165"/>
                </a:solidFill>
                <a:effectLst/>
                <a:latin typeface="montserrat" panose="00000500000000000000" pitchFamily="2" charset="0"/>
              </a:rPr>
              <a:t> of expansion you are contemplating. If you are expanding</a:t>
            </a:r>
            <a:br>
              <a:rPr lang="en-US" sz="1600" b="0" i="0" dirty="0">
                <a:solidFill>
                  <a:srgbClr val="414165"/>
                </a:solidFill>
                <a:effectLst/>
                <a:latin typeface="montserrat" panose="00000500000000000000" pitchFamily="2" charset="0"/>
              </a:rPr>
            </a:br>
            <a:r>
              <a:rPr lang="en-US" sz="1600" b="0" i="0" dirty="0">
                <a:solidFill>
                  <a:srgbClr val="414165"/>
                </a:solidFill>
                <a:effectLst/>
                <a:latin typeface="montserrat" panose="00000500000000000000" pitchFamily="2" charset="0"/>
              </a:rPr>
              <a:t> into a new market, you will require a different strategy than if you are simply expanding your company’s presence into a new location.</a:t>
            </a:r>
          </a:p>
          <a:p>
            <a:pPr marL="0" marR="0">
              <a:spcBef>
                <a:spcPts val="0"/>
              </a:spcBef>
              <a:spcAft>
                <a:spcPts val="0"/>
              </a:spcAft>
            </a:pPr>
            <a:endParaRPr lang="en-US" sz="11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FB8EF-5710-4875-ABD4-A12AF78EA3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3526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B3340-4F9D-1C07-40C9-BE26D17D726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00F873D0-1F86-D4B2-E9EC-B7846807CF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8935AF95-133A-CCF4-7F0C-2706850E99C2}"/>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5" name="Footer Placeholder 4">
            <a:extLst>
              <a:ext uri="{FF2B5EF4-FFF2-40B4-BE49-F238E27FC236}">
                <a16:creationId xmlns:a16="http://schemas.microsoft.com/office/drawing/2014/main" id="{5D215FB4-FF16-3B9F-7A11-4DF43F766DA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B2CDF52-E0B6-6D28-D4CA-36F09057498F}"/>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35133801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03A93-1BBB-3DB6-1769-6FD39357554B}"/>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1EF34530-3901-331A-C692-4F694C14D04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607605E-24F6-4BC5-2C48-E63F186A7801}"/>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5" name="Footer Placeholder 4">
            <a:extLst>
              <a:ext uri="{FF2B5EF4-FFF2-40B4-BE49-F238E27FC236}">
                <a16:creationId xmlns:a16="http://schemas.microsoft.com/office/drawing/2014/main" id="{78F82194-6BE8-8A31-4675-4C801DA4E31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6E7AEF7-8D97-B1D7-6741-91A82ADF4FDD}"/>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32950739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FB327D-9F5E-5052-3F22-0401CF12AEF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2D077FD-0501-8D2C-19A3-99CDD3B4BE0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D8FAB28-7E0D-8877-7897-C00773A599FD}"/>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5" name="Footer Placeholder 4">
            <a:extLst>
              <a:ext uri="{FF2B5EF4-FFF2-40B4-BE49-F238E27FC236}">
                <a16:creationId xmlns:a16="http://schemas.microsoft.com/office/drawing/2014/main" id="{4B9B5532-1F4F-DB5E-14C5-18578802AFB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F94D20C-70A2-578D-B948-05F99B168A5F}"/>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14823360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_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6065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2EB71-9B94-24A3-B0A8-FFAFDED213E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9CF54C7-FF12-9222-AF82-AE97C49976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338703D-FB00-5DF9-D68A-39E11A5BFB16}"/>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5" name="Footer Placeholder 4">
            <a:extLst>
              <a:ext uri="{FF2B5EF4-FFF2-40B4-BE49-F238E27FC236}">
                <a16:creationId xmlns:a16="http://schemas.microsoft.com/office/drawing/2014/main" id="{25620A99-3757-093A-EC59-13E69F0E10A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B14FF03-0858-4B16-4E76-E8322455B5B6}"/>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1070243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EF418-B81D-3F3C-750E-E972A8F2A85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746AC828-BEE7-B96B-656B-35DBA98E3A3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F65A4F-71BF-AB70-AF39-263D6DD06F91}"/>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5" name="Footer Placeholder 4">
            <a:extLst>
              <a:ext uri="{FF2B5EF4-FFF2-40B4-BE49-F238E27FC236}">
                <a16:creationId xmlns:a16="http://schemas.microsoft.com/office/drawing/2014/main" id="{105EEAC4-FAB3-4479-DC4F-10A1FAE2F8D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EFD2F63-29CD-230E-DFDD-A8DFEF4E6C00}"/>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3820876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10A2F-BC23-8A70-7F82-2AF01E7C24B4}"/>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8A0FCE4-CDCA-78B4-5451-24168A8EAB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189D5171-E96E-2D13-0EDD-558F11F9126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2B6DA491-5CE3-D627-C761-4E35C950DE8B}"/>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6" name="Footer Placeholder 5">
            <a:extLst>
              <a:ext uri="{FF2B5EF4-FFF2-40B4-BE49-F238E27FC236}">
                <a16:creationId xmlns:a16="http://schemas.microsoft.com/office/drawing/2014/main" id="{6361769B-D1EF-070D-5EBE-050364562BA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7921763A-94C9-6ED2-460D-C703DF9B00C9}"/>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1250797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73641-0755-6ECF-D1EE-BB0D995CFECE}"/>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1CCDDF2-1A7F-F314-D4C5-A850B63BECD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80CF619-B5FD-330E-619C-8BF9C29556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F9F9CB85-3A1E-CD9D-6FF2-2CDD659976B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8DB6CF7-E1BB-DCD1-ABCB-4CCA608C21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60ACC813-EA04-364C-ECC1-C1C990E39D33}"/>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8" name="Footer Placeholder 7">
            <a:extLst>
              <a:ext uri="{FF2B5EF4-FFF2-40B4-BE49-F238E27FC236}">
                <a16:creationId xmlns:a16="http://schemas.microsoft.com/office/drawing/2014/main" id="{BA161AAF-8BBC-D8B9-5566-E50649ACD6BE}"/>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7B2EE1BD-59A7-4CBD-CE74-2843109D903A}"/>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1715685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946FA-8BF4-32DB-0935-761FAC7B760C}"/>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8C1F1416-739E-140B-D891-B2C5B0BB8360}"/>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4" name="Footer Placeholder 3">
            <a:extLst>
              <a:ext uri="{FF2B5EF4-FFF2-40B4-BE49-F238E27FC236}">
                <a16:creationId xmlns:a16="http://schemas.microsoft.com/office/drawing/2014/main" id="{AD0BD1F8-735A-0F7F-A761-AF62DF9D8051}"/>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B91FD9BD-8DC2-0711-04FB-B037AB057CA3}"/>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21989534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694405-AA6E-2C64-5F39-D1A7636C6AA8}"/>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3" name="Footer Placeholder 2">
            <a:extLst>
              <a:ext uri="{FF2B5EF4-FFF2-40B4-BE49-F238E27FC236}">
                <a16:creationId xmlns:a16="http://schemas.microsoft.com/office/drawing/2014/main" id="{B40C6EAF-D696-4182-408E-C1012142AEF8}"/>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C72ADF7F-7F70-FF19-9CA4-FE2CE950A322}"/>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12023814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BBA03-D604-E2D4-8079-56EC1F0FF4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61A90ADA-95F1-70CA-D87A-92B44A11D2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F2A6DED3-7DC9-3B20-BE73-0FE346C312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B599E9-FBF5-38EE-E651-1AA4683379D0}"/>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6" name="Footer Placeholder 5">
            <a:extLst>
              <a:ext uri="{FF2B5EF4-FFF2-40B4-BE49-F238E27FC236}">
                <a16:creationId xmlns:a16="http://schemas.microsoft.com/office/drawing/2014/main" id="{96EB63FC-842F-5E85-476A-D3BCB7B591E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EB6678A-496F-FB73-7A31-8EDA317FABAF}"/>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14391159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63750-ABE8-2DF7-300F-5DC3DE2466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EB6565C0-C071-36EF-DCAB-DB8C73AEEC4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FAA6E9CC-510D-85B0-A40F-796768370C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3DBBCA-99BE-D020-E93C-6D71869EA9CA}"/>
              </a:ext>
            </a:extLst>
          </p:cNvPr>
          <p:cNvSpPr>
            <a:spLocks noGrp="1"/>
          </p:cNvSpPr>
          <p:nvPr>
            <p:ph type="dt" sz="half" idx="10"/>
          </p:nvPr>
        </p:nvSpPr>
        <p:spPr/>
        <p:txBody>
          <a:bodyPr/>
          <a:lstStyle/>
          <a:p>
            <a:fld id="{FD2CEF09-FAC5-454D-9B45-4840A57483BE}" type="datetimeFigureOut">
              <a:rPr lang="en-IN" smtClean="0"/>
              <a:t>18-Jan-2023</a:t>
            </a:fld>
            <a:endParaRPr lang="en-IN"/>
          </a:p>
        </p:txBody>
      </p:sp>
      <p:sp>
        <p:nvSpPr>
          <p:cNvPr id="6" name="Footer Placeholder 5">
            <a:extLst>
              <a:ext uri="{FF2B5EF4-FFF2-40B4-BE49-F238E27FC236}">
                <a16:creationId xmlns:a16="http://schemas.microsoft.com/office/drawing/2014/main" id="{0549F31E-16AC-540B-7206-FC03008607E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E68FADD7-4111-A525-CB43-A4519613CE53}"/>
              </a:ext>
            </a:extLst>
          </p:cNvPr>
          <p:cNvSpPr>
            <a:spLocks noGrp="1"/>
          </p:cNvSpPr>
          <p:nvPr>
            <p:ph type="sldNum" sz="quarter" idx="12"/>
          </p:nvPr>
        </p:nvSpPr>
        <p:spPr/>
        <p:txBody>
          <a:bodyPr/>
          <a:lstStyle/>
          <a:p>
            <a:fld id="{1FDDEB07-417A-4DFC-992D-87E06A08820C}" type="slidenum">
              <a:rPr lang="en-IN" smtClean="0"/>
              <a:t>‹#›</a:t>
            </a:fld>
            <a:endParaRPr lang="en-IN"/>
          </a:p>
        </p:txBody>
      </p:sp>
    </p:spTree>
    <p:extLst>
      <p:ext uri="{BB962C8B-B14F-4D97-AF65-F5344CB8AC3E}">
        <p14:creationId xmlns:p14="http://schemas.microsoft.com/office/powerpoint/2010/main" val="1655334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0A46864-F633-8116-03F9-8AF4693966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4C9E417-FF79-4CED-2447-3DD3C7075E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0887F19-FBBB-4A05-4E84-C7A83358D0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2CEF09-FAC5-454D-9B45-4840A57483BE}" type="datetimeFigureOut">
              <a:rPr lang="en-IN" smtClean="0"/>
              <a:t>18-Jan-2023</a:t>
            </a:fld>
            <a:endParaRPr lang="en-IN"/>
          </a:p>
        </p:txBody>
      </p:sp>
      <p:sp>
        <p:nvSpPr>
          <p:cNvPr id="5" name="Footer Placeholder 4">
            <a:extLst>
              <a:ext uri="{FF2B5EF4-FFF2-40B4-BE49-F238E27FC236}">
                <a16:creationId xmlns:a16="http://schemas.microsoft.com/office/drawing/2014/main" id="{C6871815-6462-234D-68FC-1465E803B3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012FEE89-B60F-5995-8E6F-C1A05C9682F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DDEB07-417A-4DFC-992D-87E06A08820C}" type="slidenum">
              <a:rPr lang="en-IN" smtClean="0"/>
              <a:t>‹#›</a:t>
            </a:fld>
            <a:endParaRPr lang="en-IN"/>
          </a:p>
        </p:txBody>
      </p:sp>
    </p:spTree>
    <p:extLst>
      <p:ext uri="{BB962C8B-B14F-4D97-AF65-F5344CB8AC3E}">
        <p14:creationId xmlns:p14="http://schemas.microsoft.com/office/powerpoint/2010/main" val="35477548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lumMod val="20000"/>
            <a:lumOff val="80000"/>
            <a:alpha val="90000"/>
          </a:schemeClr>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FEA35673-03C5-3C00-032C-CC7906A01CCB}"/>
              </a:ext>
              <a:ext uri="{C183D7F6-B498-43B3-948B-1728B52AA6E4}">
                <adec:decorative xmlns:adec="http://schemas.microsoft.com/office/drawing/2017/decorative" val="1"/>
              </a:ext>
            </a:extLst>
          </p:cNvPr>
          <p:cNvSpPr/>
          <p:nvPr/>
        </p:nvSpPr>
        <p:spPr bwMode="auto">
          <a:xfrm>
            <a:off x="-971647" y="-83871"/>
            <a:ext cx="7601097" cy="6975653"/>
          </a:xfrm>
          <a:custGeom>
            <a:avLst/>
            <a:gdLst>
              <a:gd name="connsiteX0" fmla="*/ 0 w 5785945"/>
              <a:gd name="connsiteY0" fmla="*/ 15766 h 6936828"/>
              <a:gd name="connsiteX1" fmla="*/ 0 w 5785945"/>
              <a:gd name="connsiteY1" fmla="*/ 6936828 h 6936828"/>
              <a:gd name="connsiteX2" fmla="*/ 173421 w 5785945"/>
              <a:gd name="connsiteY2" fmla="*/ 6936828 h 6936828"/>
              <a:gd name="connsiteX3" fmla="*/ 5785945 w 5785945"/>
              <a:gd name="connsiteY3" fmla="*/ 6936828 h 6936828"/>
              <a:gd name="connsiteX4" fmla="*/ 3547241 w 5785945"/>
              <a:gd name="connsiteY4" fmla="*/ 0 h 6936828"/>
              <a:gd name="connsiteX5" fmla="*/ 0 w 5785945"/>
              <a:gd name="connsiteY5" fmla="*/ 15766 h 6936828"/>
              <a:gd name="connsiteX0" fmla="*/ 0 w 7532859"/>
              <a:gd name="connsiteY0" fmla="*/ 0 h 6975653"/>
              <a:gd name="connsiteX1" fmla="*/ 1746914 w 7532859"/>
              <a:gd name="connsiteY1" fmla="*/ 6975653 h 6975653"/>
              <a:gd name="connsiteX2" fmla="*/ 1920335 w 7532859"/>
              <a:gd name="connsiteY2" fmla="*/ 6975653 h 6975653"/>
              <a:gd name="connsiteX3" fmla="*/ 7532859 w 7532859"/>
              <a:gd name="connsiteY3" fmla="*/ 6975653 h 6975653"/>
              <a:gd name="connsiteX4" fmla="*/ 5294155 w 7532859"/>
              <a:gd name="connsiteY4" fmla="*/ 38825 h 6975653"/>
              <a:gd name="connsiteX5" fmla="*/ 0 w 7532859"/>
              <a:gd name="connsiteY5" fmla="*/ 0 h 6975653"/>
              <a:gd name="connsiteX0" fmla="*/ 68238 w 7601097"/>
              <a:gd name="connsiteY0" fmla="*/ 0 h 6975653"/>
              <a:gd name="connsiteX1" fmla="*/ 0 w 7601097"/>
              <a:gd name="connsiteY1" fmla="*/ 6948358 h 6975653"/>
              <a:gd name="connsiteX2" fmla="*/ 1988573 w 7601097"/>
              <a:gd name="connsiteY2" fmla="*/ 6975653 h 6975653"/>
              <a:gd name="connsiteX3" fmla="*/ 7601097 w 7601097"/>
              <a:gd name="connsiteY3" fmla="*/ 6975653 h 6975653"/>
              <a:gd name="connsiteX4" fmla="*/ 5362393 w 7601097"/>
              <a:gd name="connsiteY4" fmla="*/ 38825 h 6975653"/>
              <a:gd name="connsiteX5" fmla="*/ 68238 w 7601097"/>
              <a:gd name="connsiteY5" fmla="*/ 0 h 697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01097" h="6975653">
                <a:moveTo>
                  <a:pt x="68238" y="0"/>
                </a:moveTo>
                <a:lnTo>
                  <a:pt x="0" y="6948358"/>
                </a:lnTo>
                <a:lnTo>
                  <a:pt x="1988573" y="6975653"/>
                </a:lnTo>
                <a:lnTo>
                  <a:pt x="7601097" y="6975653"/>
                </a:lnTo>
                <a:lnTo>
                  <a:pt x="5362393" y="38825"/>
                </a:lnTo>
                <a:lnTo>
                  <a:pt x="68238" y="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6" name="Object 5" hidden="1">
            <a:extLst>
              <a:ext uri="{FF2B5EF4-FFF2-40B4-BE49-F238E27FC236}">
                <a16:creationId xmlns:a16="http://schemas.microsoft.com/office/drawing/2014/main" id="{01501BD7-469B-4559-BD3C-BD0097A9E541}"/>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01501BD7-469B-4559-BD3C-BD0097A9E541}"/>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05FCF6-1788-60BE-08F4-86C1A9BE0E9F}"/>
              </a:ext>
            </a:extLst>
          </p:cNvPr>
          <p:cNvSpPr>
            <a:spLocks noGrp="1"/>
          </p:cNvSpPr>
          <p:nvPr>
            <p:ph type="title"/>
          </p:nvPr>
        </p:nvSpPr>
        <p:spPr>
          <a:xfrm>
            <a:off x="967662" y="2467991"/>
            <a:ext cx="5325438" cy="2492990"/>
          </a:xfrm>
        </p:spPr>
        <p:txBody>
          <a:bodyPr/>
          <a:lstStyle/>
          <a:p>
            <a:r>
              <a:rPr lang="en-US" sz="5400" b="1" dirty="0">
                <a:solidFill>
                  <a:schemeClr val="bg1"/>
                </a:solidFill>
                <a:latin typeface="Segoe UI Semibold" panose="020B0502040204020203" pitchFamily="34" charset="0"/>
                <a:cs typeface="Segoe UI Semibold" panose="020B0502040204020203" pitchFamily="34" charset="0"/>
              </a:rPr>
              <a:t>Exploring Business </a:t>
            </a:r>
            <a:br>
              <a:rPr lang="en-US" sz="5400" dirty="0">
                <a:solidFill>
                  <a:schemeClr val="bg1"/>
                </a:solidFill>
                <a:latin typeface="Segoe UI Semilight" panose="020B0402040204020203" pitchFamily="34" charset="0"/>
                <a:cs typeface="Segoe UI Semilight" panose="020B0402040204020203" pitchFamily="34" charset="0"/>
              </a:rPr>
            </a:br>
            <a:r>
              <a:rPr lang="en-US" sz="5400" dirty="0">
                <a:solidFill>
                  <a:schemeClr val="bg1"/>
                </a:solidFill>
                <a:latin typeface="Segoe UI" panose="020B0502040204020203" pitchFamily="34" charset="0"/>
              </a:rPr>
              <a:t>in the world…</a:t>
            </a:r>
          </a:p>
        </p:txBody>
      </p:sp>
    </p:spTree>
    <p:extLst>
      <p:ext uri="{BB962C8B-B14F-4D97-AF65-F5344CB8AC3E}">
        <p14:creationId xmlns:p14="http://schemas.microsoft.com/office/powerpoint/2010/main" val="605784842"/>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FEA35673-03C5-3C00-032C-CC7906A01CCB}"/>
              </a:ext>
              <a:ext uri="{C183D7F6-B498-43B3-948B-1728B52AA6E4}">
                <adec:decorative xmlns:adec="http://schemas.microsoft.com/office/drawing/2017/decorative" val="1"/>
              </a:ext>
            </a:extLst>
          </p:cNvPr>
          <p:cNvSpPr/>
          <p:nvPr/>
        </p:nvSpPr>
        <p:spPr bwMode="auto">
          <a:xfrm>
            <a:off x="-971647" y="-83871"/>
            <a:ext cx="7601097" cy="6975653"/>
          </a:xfrm>
          <a:custGeom>
            <a:avLst/>
            <a:gdLst>
              <a:gd name="connsiteX0" fmla="*/ 0 w 5785945"/>
              <a:gd name="connsiteY0" fmla="*/ 15766 h 6936828"/>
              <a:gd name="connsiteX1" fmla="*/ 0 w 5785945"/>
              <a:gd name="connsiteY1" fmla="*/ 6936828 h 6936828"/>
              <a:gd name="connsiteX2" fmla="*/ 173421 w 5785945"/>
              <a:gd name="connsiteY2" fmla="*/ 6936828 h 6936828"/>
              <a:gd name="connsiteX3" fmla="*/ 5785945 w 5785945"/>
              <a:gd name="connsiteY3" fmla="*/ 6936828 h 6936828"/>
              <a:gd name="connsiteX4" fmla="*/ 3547241 w 5785945"/>
              <a:gd name="connsiteY4" fmla="*/ 0 h 6936828"/>
              <a:gd name="connsiteX5" fmla="*/ 0 w 5785945"/>
              <a:gd name="connsiteY5" fmla="*/ 15766 h 6936828"/>
              <a:gd name="connsiteX0" fmla="*/ 0 w 7532859"/>
              <a:gd name="connsiteY0" fmla="*/ 0 h 6975653"/>
              <a:gd name="connsiteX1" fmla="*/ 1746914 w 7532859"/>
              <a:gd name="connsiteY1" fmla="*/ 6975653 h 6975653"/>
              <a:gd name="connsiteX2" fmla="*/ 1920335 w 7532859"/>
              <a:gd name="connsiteY2" fmla="*/ 6975653 h 6975653"/>
              <a:gd name="connsiteX3" fmla="*/ 7532859 w 7532859"/>
              <a:gd name="connsiteY3" fmla="*/ 6975653 h 6975653"/>
              <a:gd name="connsiteX4" fmla="*/ 5294155 w 7532859"/>
              <a:gd name="connsiteY4" fmla="*/ 38825 h 6975653"/>
              <a:gd name="connsiteX5" fmla="*/ 0 w 7532859"/>
              <a:gd name="connsiteY5" fmla="*/ 0 h 6975653"/>
              <a:gd name="connsiteX0" fmla="*/ 68238 w 7601097"/>
              <a:gd name="connsiteY0" fmla="*/ 0 h 6975653"/>
              <a:gd name="connsiteX1" fmla="*/ 0 w 7601097"/>
              <a:gd name="connsiteY1" fmla="*/ 6948358 h 6975653"/>
              <a:gd name="connsiteX2" fmla="*/ 1988573 w 7601097"/>
              <a:gd name="connsiteY2" fmla="*/ 6975653 h 6975653"/>
              <a:gd name="connsiteX3" fmla="*/ 7601097 w 7601097"/>
              <a:gd name="connsiteY3" fmla="*/ 6975653 h 6975653"/>
              <a:gd name="connsiteX4" fmla="*/ 5362393 w 7601097"/>
              <a:gd name="connsiteY4" fmla="*/ 38825 h 6975653"/>
              <a:gd name="connsiteX5" fmla="*/ 68238 w 7601097"/>
              <a:gd name="connsiteY5" fmla="*/ 0 h 697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01097" h="6975653">
                <a:moveTo>
                  <a:pt x="68238" y="0"/>
                </a:moveTo>
                <a:lnTo>
                  <a:pt x="0" y="6948358"/>
                </a:lnTo>
                <a:lnTo>
                  <a:pt x="1988573" y="6975653"/>
                </a:lnTo>
                <a:lnTo>
                  <a:pt x="7601097" y="6975653"/>
                </a:lnTo>
                <a:lnTo>
                  <a:pt x="5362393" y="38825"/>
                </a:lnTo>
                <a:lnTo>
                  <a:pt x="68238" y="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6" name="Object 5" hidden="1">
            <a:extLst>
              <a:ext uri="{FF2B5EF4-FFF2-40B4-BE49-F238E27FC236}">
                <a16:creationId xmlns:a16="http://schemas.microsoft.com/office/drawing/2014/main" id="{01501BD7-469B-4559-BD3C-BD0097A9E541}"/>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01501BD7-469B-4559-BD3C-BD0097A9E541}"/>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05FCF6-1788-60BE-08F4-86C1A9BE0E9F}"/>
              </a:ext>
            </a:extLst>
          </p:cNvPr>
          <p:cNvSpPr>
            <a:spLocks noGrp="1"/>
          </p:cNvSpPr>
          <p:nvPr>
            <p:ph type="title"/>
          </p:nvPr>
        </p:nvSpPr>
        <p:spPr>
          <a:xfrm>
            <a:off x="967662" y="2467991"/>
            <a:ext cx="5325438" cy="2492990"/>
          </a:xfrm>
        </p:spPr>
        <p:txBody>
          <a:bodyPr/>
          <a:lstStyle/>
          <a:p>
            <a:r>
              <a:rPr lang="en-US" sz="5400" b="1" dirty="0">
                <a:solidFill>
                  <a:schemeClr val="bg1"/>
                </a:solidFill>
                <a:latin typeface="Segoe UI Semibold" panose="020B0502040204020203" pitchFamily="34" charset="0"/>
                <a:cs typeface="Segoe UI Semibold" panose="020B0502040204020203" pitchFamily="34" charset="0"/>
              </a:rPr>
              <a:t>Exploring Business </a:t>
            </a:r>
            <a:br>
              <a:rPr lang="en-US" sz="5400" dirty="0">
                <a:solidFill>
                  <a:schemeClr val="bg1"/>
                </a:solidFill>
                <a:latin typeface="Segoe UI Semilight" panose="020B0402040204020203" pitchFamily="34" charset="0"/>
                <a:cs typeface="Segoe UI Semilight" panose="020B0402040204020203" pitchFamily="34" charset="0"/>
              </a:rPr>
            </a:br>
            <a:r>
              <a:rPr lang="en-US" sz="5400" dirty="0">
                <a:solidFill>
                  <a:schemeClr val="bg1"/>
                </a:solidFill>
                <a:latin typeface="Segoe UI" panose="020B0502040204020203" pitchFamily="34" charset="0"/>
              </a:rPr>
              <a:t>in the world…</a:t>
            </a:r>
          </a:p>
        </p:txBody>
      </p:sp>
    </p:spTree>
    <p:extLst>
      <p:ext uri="{BB962C8B-B14F-4D97-AF65-F5344CB8AC3E}">
        <p14:creationId xmlns:p14="http://schemas.microsoft.com/office/powerpoint/2010/main" val="281859859"/>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TotalTime>
  <Words>195</Words>
  <Application>Microsoft Office PowerPoint</Application>
  <PresentationFormat>Widescreen</PresentationFormat>
  <Paragraphs>8</Paragraphs>
  <Slides>2</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1" baseType="lpstr">
      <vt:lpstr>Arial</vt:lpstr>
      <vt:lpstr>Calibri</vt:lpstr>
      <vt:lpstr>Calibri Light</vt:lpstr>
      <vt:lpstr>montserrat</vt:lpstr>
      <vt:lpstr>Segoe UI</vt:lpstr>
      <vt:lpstr>Segoe UI Semibold</vt:lpstr>
      <vt:lpstr>Segoe UI Semilight</vt:lpstr>
      <vt:lpstr>Office Theme</vt:lpstr>
      <vt:lpstr>think-cell Slide</vt:lpstr>
      <vt:lpstr>Exploring Business  in the world…</vt:lpstr>
      <vt:lpstr>Exploring Business  in the worl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53% are under the  age of 45 </dc:title>
  <dc:creator>Mohammad Irshad Ansari</dc:creator>
  <cp:lastModifiedBy>Mohammad Irshad Ansari</cp:lastModifiedBy>
  <cp:revision>3</cp:revision>
  <dcterms:created xsi:type="dcterms:W3CDTF">2023-01-18T06:30:02Z</dcterms:created>
  <dcterms:modified xsi:type="dcterms:W3CDTF">2023-01-18T06:55:36Z</dcterms:modified>
</cp:coreProperties>
</file>